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951" r:id="rId5"/>
    <p:sldId id="961" r:id="rId6"/>
    <p:sldId id="980" r:id="rId7"/>
    <p:sldId id="972" r:id="rId8"/>
    <p:sldId id="973" r:id="rId9"/>
    <p:sldId id="982" r:id="rId10"/>
    <p:sldId id="984" r:id="rId11"/>
    <p:sldId id="994" r:id="rId12"/>
    <p:sldId id="990" r:id="rId13"/>
    <p:sldId id="993" r:id="rId14"/>
    <p:sldId id="983" r:id="rId15"/>
  </p:sldIdLst>
  <p:sldSz cx="12188825" cy="6858000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5C546E1F-1E27-9B49-A679-C2A28CDD1F99}">
          <p14:sldIdLst>
            <p14:sldId id="951"/>
            <p14:sldId id="961"/>
            <p14:sldId id="980"/>
            <p14:sldId id="972"/>
            <p14:sldId id="973"/>
            <p14:sldId id="982"/>
            <p14:sldId id="984"/>
            <p14:sldId id="994"/>
            <p14:sldId id="990"/>
            <p14:sldId id="993"/>
            <p14:sldId id="9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DD74937-E508-91AE-0BD0-49B24EB55D0C}" name="Pavoni, Michele" initials="PM" userId="S::pavonm05@pfizer.com::04eb20cb-ce53-449f-85ed-9467bb068f07" providerId="AD"/>
  <p188:author id="{FE576FC2-F348-B220-4743-914DDE182B01}" name="Pavoni, Michele" initials="PM" userId="S::PAVONM05@pfizer.com::04eb20cb-ce53-449f-85ed-9467bb068f07" providerId="AD"/>
  <p188:author id="{80FE23EE-5224-8680-E3F5-83116482B737}" name="Lage, Miriane" initials="LM" userId="S::BARBOM18@pfizer.com::65e192d7-068b-4478-a50a-a95b2c67a06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5FF"/>
    <a:srgbClr val="0000C9"/>
    <a:srgbClr val="BAE18F"/>
    <a:srgbClr val="9D73F7"/>
    <a:srgbClr val="9D73BA"/>
    <a:srgbClr val="9DBDBA"/>
    <a:srgbClr val="0DBDBA"/>
    <a:srgbClr val="CCEAFF"/>
    <a:srgbClr val="EDEAF0"/>
    <a:srgbClr val="EFE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29207F-D1F2-4454-B14E-6966C900E6A0}" v="1" dt="2023-04-14T19:56:43.6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ge, Miriane" userId="65e192d7-068b-4478-a50a-a95b2c67a06f" providerId="ADAL" clId="{1C29207F-D1F2-4454-B14E-6966C900E6A0}"/>
    <pc:docChg chg="addSld delSld modSld modSection">
      <pc:chgData name="Lage, Miriane" userId="65e192d7-068b-4478-a50a-a95b2c67a06f" providerId="ADAL" clId="{1C29207F-D1F2-4454-B14E-6966C900E6A0}" dt="2023-04-14T19:56:48.596" v="25" actId="20577"/>
      <pc:docMkLst>
        <pc:docMk/>
      </pc:docMkLst>
      <pc:sldChg chg="del">
        <pc:chgData name="Lage, Miriane" userId="65e192d7-068b-4478-a50a-a95b2c67a06f" providerId="ADAL" clId="{1C29207F-D1F2-4454-B14E-6966C900E6A0}" dt="2023-04-14T19:50:15.008" v="3" actId="47"/>
        <pc:sldMkLst>
          <pc:docMk/>
          <pc:sldMk cId="1762070247" sldId="390"/>
        </pc:sldMkLst>
      </pc:sldChg>
      <pc:sldChg chg="del">
        <pc:chgData name="Lage, Miriane" userId="65e192d7-068b-4478-a50a-a95b2c67a06f" providerId="ADAL" clId="{1C29207F-D1F2-4454-B14E-6966C900E6A0}" dt="2023-04-14T19:50:13.640" v="2" actId="47"/>
        <pc:sldMkLst>
          <pc:docMk/>
          <pc:sldMk cId="4015108046" sldId="396"/>
        </pc:sldMkLst>
      </pc:sldChg>
      <pc:sldChg chg="delCm">
        <pc:chgData name="Lage, Miriane" userId="65e192d7-068b-4478-a50a-a95b2c67a06f" providerId="ADAL" clId="{1C29207F-D1F2-4454-B14E-6966C900E6A0}" dt="2023-04-14T19:50:19.746" v="4"/>
        <pc:sldMkLst>
          <pc:docMk/>
          <pc:sldMk cId="179494448" sldId="980"/>
        </pc:sldMkLst>
      </pc:sldChg>
      <pc:sldChg chg="del">
        <pc:chgData name="Lage, Miriane" userId="65e192d7-068b-4478-a50a-a95b2c67a06f" providerId="ADAL" clId="{1C29207F-D1F2-4454-B14E-6966C900E6A0}" dt="2023-04-14T19:56:35.715" v="8" actId="47"/>
        <pc:sldMkLst>
          <pc:docMk/>
          <pc:sldMk cId="2689007195" sldId="985"/>
        </pc:sldMkLst>
      </pc:sldChg>
      <pc:sldChg chg="del">
        <pc:chgData name="Lage, Miriane" userId="65e192d7-068b-4478-a50a-a95b2c67a06f" providerId="ADAL" clId="{1C29207F-D1F2-4454-B14E-6966C900E6A0}" dt="2023-04-14T19:56:35.715" v="8" actId="47"/>
        <pc:sldMkLst>
          <pc:docMk/>
          <pc:sldMk cId="1069873204" sldId="987"/>
        </pc:sldMkLst>
      </pc:sldChg>
      <pc:sldChg chg="del">
        <pc:chgData name="Lage, Miriane" userId="65e192d7-068b-4478-a50a-a95b2c67a06f" providerId="ADAL" clId="{1C29207F-D1F2-4454-B14E-6966C900E6A0}" dt="2023-04-14T19:49:57.070" v="0" actId="47"/>
        <pc:sldMkLst>
          <pc:docMk/>
          <pc:sldMk cId="3369611102" sldId="988"/>
        </pc:sldMkLst>
      </pc:sldChg>
      <pc:sldChg chg="modSp mod delCm">
        <pc:chgData name="Lage, Miriane" userId="65e192d7-068b-4478-a50a-a95b2c67a06f" providerId="ADAL" clId="{1C29207F-D1F2-4454-B14E-6966C900E6A0}" dt="2023-04-14T19:51:37.271" v="7" actId="20577"/>
        <pc:sldMkLst>
          <pc:docMk/>
          <pc:sldMk cId="3604816496" sldId="990"/>
        </pc:sldMkLst>
        <pc:spChg chg="mod">
          <ac:chgData name="Lage, Miriane" userId="65e192d7-068b-4478-a50a-a95b2c67a06f" providerId="ADAL" clId="{1C29207F-D1F2-4454-B14E-6966C900E6A0}" dt="2023-04-14T19:51:37.271" v="7" actId="20577"/>
          <ac:spMkLst>
            <pc:docMk/>
            <pc:sldMk cId="3604816496" sldId="990"/>
            <ac:spMk id="3" creationId="{306FE8DA-F94D-44E2-800B-83D5FC60BFB2}"/>
          </ac:spMkLst>
        </pc:spChg>
      </pc:sldChg>
      <pc:sldChg chg="del">
        <pc:chgData name="Lage, Miriane" userId="65e192d7-068b-4478-a50a-a95b2c67a06f" providerId="ADAL" clId="{1C29207F-D1F2-4454-B14E-6966C900E6A0}" dt="2023-04-14T19:56:35.715" v="8" actId="47"/>
        <pc:sldMkLst>
          <pc:docMk/>
          <pc:sldMk cId="2624877296" sldId="991"/>
        </pc:sldMkLst>
      </pc:sldChg>
      <pc:sldChg chg="del">
        <pc:chgData name="Lage, Miriane" userId="65e192d7-068b-4478-a50a-a95b2c67a06f" providerId="ADAL" clId="{1C29207F-D1F2-4454-B14E-6966C900E6A0}" dt="2023-04-14T19:50:12.996" v="1" actId="47"/>
        <pc:sldMkLst>
          <pc:docMk/>
          <pc:sldMk cId="1393265129" sldId="992"/>
        </pc:sldMkLst>
      </pc:sldChg>
      <pc:sldChg chg="modSp add mod">
        <pc:chgData name="Lage, Miriane" userId="65e192d7-068b-4478-a50a-a95b2c67a06f" providerId="ADAL" clId="{1C29207F-D1F2-4454-B14E-6966C900E6A0}" dt="2023-04-14T19:56:48.596" v="25" actId="20577"/>
        <pc:sldMkLst>
          <pc:docMk/>
          <pc:sldMk cId="2617353264" sldId="994"/>
        </pc:sldMkLst>
        <pc:spChg chg="mod">
          <ac:chgData name="Lage, Miriane" userId="65e192d7-068b-4478-a50a-a95b2c67a06f" providerId="ADAL" clId="{1C29207F-D1F2-4454-B14E-6966C900E6A0}" dt="2023-04-14T19:56:48.596" v="25" actId="20577"/>
          <ac:spMkLst>
            <pc:docMk/>
            <pc:sldMk cId="2617353264" sldId="994"/>
            <ac:spMk id="2" creationId="{249CFAE5-72C3-492D-8468-0BBEC329F706}"/>
          </ac:spMkLst>
        </pc:spChg>
      </pc:sldChg>
      <pc:sldMasterChg chg="delSldLayout">
        <pc:chgData name="Lage, Miriane" userId="65e192d7-068b-4478-a50a-a95b2c67a06f" providerId="ADAL" clId="{1C29207F-D1F2-4454-B14E-6966C900E6A0}" dt="2023-04-14T19:50:15.008" v="3" actId="47"/>
        <pc:sldMasterMkLst>
          <pc:docMk/>
          <pc:sldMasterMk cId="1633675084" sldId="2147483648"/>
        </pc:sldMasterMkLst>
        <pc:sldLayoutChg chg="del">
          <pc:chgData name="Lage, Miriane" userId="65e192d7-068b-4478-a50a-a95b2c67a06f" providerId="ADAL" clId="{1C29207F-D1F2-4454-B14E-6966C900E6A0}" dt="2023-04-14T19:50:15.008" v="3" actId="47"/>
          <pc:sldLayoutMkLst>
            <pc:docMk/>
            <pc:sldMasterMk cId="1633675084" sldId="2147483648"/>
            <pc:sldLayoutMk cId="1935593702" sldId="214748368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4/14/2023</a:t>
            </a:fld>
            <a:endParaRPr lang="en-US" sz="105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nº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Neste momento, haverá um bate papo entre a Marta e o Emerson e a Marta irá pedir o depoimento do Carlo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00108-067B-45CA-BAB3-2AF3C0302577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674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983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Formato (vídeo), influenciador (potencializa a mensagem) e paciente (traz mais verdade e conecta com as pessoas)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101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32344CB-3534-45AD-AFD7-41E2E6820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9"/>
          <a:stretch/>
        </p:blipFill>
        <p:spPr bwMode="gray">
          <a:xfrm>
            <a:off x="4830612" y="-10346"/>
            <a:ext cx="7358214" cy="6735001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0E02DB8-7DF9-4D61-B849-4927B0A575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676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07994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000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740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451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bg1"/>
                </a:solidFill>
              </a:rPr>
              <a:t>Confidential</a:t>
            </a:r>
            <a:endParaRPr sz="800" b="1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bg1"/>
                </a:solidFill>
              </a:rPr>
              <a:t>Business Group</a:t>
            </a:r>
            <a:r>
              <a:rPr lang="en-US" sz="800" b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48248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4718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D02D0F-5A6C-6A49-9446-D4F07CCC5CC2}"/>
              </a:ext>
            </a:extLst>
          </p:cNvPr>
          <p:cNvSpPr/>
          <p:nvPr userDrawn="1"/>
        </p:nvSpPr>
        <p:spPr bwMode="gray">
          <a:xfrm>
            <a:off x="92597" y="0"/>
            <a:ext cx="1377388" cy="682906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26418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5FB0317-9E79-E744-8608-E2ADF9795B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59904"/>
            <a:ext cx="12188825" cy="698096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AD28899-06F0-5640-B0AA-95C2E193B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6316" y="6349177"/>
            <a:ext cx="2742486" cy="365125"/>
          </a:xfrm>
        </p:spPr>
        <p:txBody>
          <a:bodyPr/>
          <a:lstStyle>
            <a:lvl1pPr>
              <a:defRPr sz="900" b="0" i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8F6FEFC-CCC7-A94C-AAC3-BECAE4BF550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EB43EE-CCCF-C547-B122-91A8DCDC76C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19231" y="1268541"/>
            <a:ext cx="11479571" cy="4769402"/>
          </a:xfrm>
        </p:spPr>
        <p:txBody>
          <a:bodyPr/>
          <a:lstStyle>
            <a:lvl1pPr>
              <a:lnSpc>
                <a:spcPct val="100000"/>
              </a:lnSpc>
              <a:defRPr sz="1799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351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51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17912F7-D185-7742-88A1-1B832D4B44B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9221" y="427888"/>
            <a:ext cx="11479567" cy="607285"/>
          </a:xfrm>
        </p:spPr>
        <p:txBody>
          <a:bodyPr anchor="t">
            <a:noAutofit/>
          </a:bodyPr>
          <a:lstStyle>
            <a:lvl1pPr algn="l">
              <a:defRPr sz="3999" b="1" i="0">
                <a:solidFill>
                  <a:srgbClr val="1E19BB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661982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EDF581-674C-417A-9096-A976C644B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F059A8-1CE5-4E5D-829B-BC558F43DE89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1A5A1C2B-606A-4151-8BAE-6D45CEC40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11B3D57-793F-4D9B-A6DC-EFCBB607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3FE37-81CB-4BEC-843D-7DCD4D0450C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076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639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E72C702-D14D-1142-B7DE-2A6583302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510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E72C702-D14D-1142-B7DE-2A6583302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0928C6C-300E-D048-B385-94FE7B1F09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2062493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407429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121712-CCF8-174F-8D78-1DE2B0E3B51E}"/>
              </a:ext>
            </a:extLst>
          </p:cNvPr>
          <p:cNvSpPr/>
          <p:nvPr userDrawn="1"/>
        </p:nvSpPr>
        <p:spPr bwMode="gray">
          <a:xfrm>
            <a:off x="10521387" y="208344"/>
            <a:ext cx="1218249" cy="821803"/>
          </a:xfrm>
          <a:prstGeom prst="rect">
            <a:avLst/>
          </a:prstGeom>
          <a:solidFill>
            <a:srgbClr val="EFEFF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21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D4CEC-D3FA-4F47-A8B9-8B53EE69C4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13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D4CEC-D3FA-4F47-A8B9-8B53EE69C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Icon&#10;&#10;Description automatically generated with medium confidence">
            <a:extLst>
              <a:ext uri="{FF2B5EF4-FFF2-40B4-BE49-F238E27FC236}">
                <a16:creationId xmlns:a16="http://schemas.microsoft.com/office/drawing/2014/main" id="{2E307309-FA10-204E-A689-0E82820771E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60237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94731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8C7053-DD83-4F41-BD5B-7E0FF2350B9E}"/>
              </a:ext>
            </a:extLst>
          </p:cNvPr>
          <p:cNvSpPr/>
          <p:nvPr userDrawn="1"/>
        </p:nvSpPr>
        <p:spPr bwMode="gray">
          <a:xfrm>
            <a:off x="10776030" y="138896"/>
            <a:ext cx="1273216" cy="787079"/>
          </a:xfrm>
          <a:prstGeom prst="rect">
            <a:avLst/>
          </a:prstGeom>
          <a:solidFill>
            <a:srgbClr val="EFEFF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2991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625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0485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8803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0E9F59-B672-D24D-A8F8-9D2680D5B8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618203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0E9F59-B672-D24D-A8F8-9D2680D5B8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5" name="Google Shape;52;p7">
            <a:extLst>
              <a:ext uri="{FF2B5EF4-FFF2-40B4-BE49-F238E27FC236}">
                <a16:creationId xmlns:a16="http://schemas.microsoft.com/office/drawing/2014/main" id="{32B9580A-B465-4E15-BAF0-0919554158D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rgbClr val="A1AAB1"/>
                </a:solidFill>
              </a:rPr>
              <a:t>Confidential</a:t>
            </a:r>
            <a:endParaRPr sz="800" b="1">
              <a:solidFill>
                <a:srgbClr val="A1AAB1"/>
              </a:solidFill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05B5027-9C8E-4D3E-B630-4D23F5F13B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rgbClr val="0000C9"/>
                </a:solidFill>
              </a:rPr>
              <a:t>Business Group</a:t>
            </a:r>
            <a:r>
              <a:rPr lang="en-US" sz="800" b="0">
                <a:solidFill>
                  <a:srgbClr val="0000C9"/>
                </a:solidFill>
              </a:rPr>
              <a:t>  Business Subgroup</a:t>
            </a:r>
          </a:p>
        </p:txBody>
      </p:sp>
    </p:spTree>
    <p:custDataLst>
      <p:tags r:id="rId21"/>
    </p:custDataLst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77" r:id="rId3"/>
    <p:sldLayoutId id="2147483678" r:id="rId4"/>
    <p:sldLayoutId id="2147483654" r:id="rId5"/>
    <p:sldLayoutId id="2147483663" r:id="rId6"/>
    <p:sldLayoutId id="2147483650" r:id="rId7"/>
    <p:sldLayoutId id="2147483666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67" r:id="rId14"/>
    <p:sldLayoutId id="2147483668" r:id="rId15"/>
    <p:sldLayoutId id="2147483676" r:id="rId16"/>
    <p:sldLayoutId id="2147483679" r:id="rId17"/>
    <p:sldLayoutId id="2147483683" r:id="rId18"/>
    <p:sldLayoutId id="2147483684" r:id="rId19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E22065-205E-4278-9D95-25BB224119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/>
              <a:t>Engajamento das campanhas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B6B0D25-BFE4-486C-AE21-8204A7022C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/>
              <a:t>Avaliação OKR</a:t>
            </a:r>
          </a:p>
        </p:txBody>
      </p:sp>
    </p:spTree>
    <p:extLst>
      <p:ext uri="{BB962C8B-B14F-4D97-AF65-F5344CB8AC3E}">
        <p14:creationId xmlns:p14="http://schemas.microsoft.com/office/powerpoint/2010/main" val="625845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DEE0AA-F2D5-4D78-82FC-1B975711F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que explorar em 2023?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06FE8DA-F94D-44E2-800B-83D5FC60BF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796" y="1187777"/>
            <a:ext cx="7801658" cy="5272657"/>
          </a:xfrm>
        </p:spPr>
        <p:txBody>
          <a:bodyPr/>
          <a:lstStyle/>
          <a:p>
            <a:r>
              <a:rPr lang="pt-BR" dirty="0"/>
              <a:t>Formatos animados de conteúdos, como vídeos e </a:t>
            </a:r>
            <a:r>
              <a:rPr lang="pt-BR" dirty="0" err="1"/>
              <a:t>motions</a:t>
            </a:r>
            <a:r>
              <a:rPr lang="pt-BR" dirty="0"/>
              <a:t>. O </a:t>
            </a:r>
            <a:r>
              <a:rPr lang="pt-BR" b="1" dirty="0"/>
              <a:t>YouTube </a:t>
            </a:r>
            <a:r>
              <a:rPr lang="pt-BR" dirty="0"/>
              <a:t>continua sendo a rede mais acessada no Brasil, com 138MM de usuários, só perdendo para o </a:t>
            </a:r>
            <a:r>
              <a:rPr lang="pt-BR" dirty="0" err="1"/>
              <a:t>Whatsapp</a:t>
            </a:r>
            <a:r>
              <a:rPr lang="pt-BR" dirty="0"/>
              <a:t>. Instagram, Facebook e TikTok seguem na sequência da lista das mais usadas.</a:t>
            </a:r>
          </a:p>
          <a:p>
            <a:r>
              <a:rPr lang="pt-BR" b="1" dirty="0"/>
              <a:t>TikTok </a:t>
            </a:r>
            <a:r>
              <a:rPr lang="pt-BR" dirty="0"/>
              <a:t>é uma rede a ser bastante explorada para aumentar o alcance das mensagens entre o público mais jovem. Baixo investimento e forte alcance. Brasil é o 3º país que mais utiliza a rede.</a:t>
            </a:r>
          </a:p>
          <a:p>
            <a:r>
              <a:rPr lang="pt-BR" b="1" dirty="0"/>
              <a:t>Facebook </a:t>
            </a:r>
            <a:r>
              <a:rPr lang="pt-BR" dirty="0"/>
              <a:t>ainda é uma mídia importante para campanhas de mídia paga. No Brasil é a 4ª mais utilizada, mas continua em primeiro lugar a nível global, com 2,9 bilhões de usuários ativos/mês. </a:t>
            </a:r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A99F536B-4579-441D-8A31-CE9515BE0F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100" r="47980"/>
          <a:stretch/>
        </p:blipFill>
        <p:spPr>
          <a:xfrm>
            <a:off x="8704386" y="1426662"/>
            <a:ext cx="2567857" cy="374258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F3628ECD-6996-47E4-B7A5-9790B90F79C1}"/>
              </a:ext>
            </a:extLst>
          </p:cNvPr>
          <p:cNvSpPr txBox="1"/>
          <p:nvPr/>
        </p:nvSpPr>
        <p:spPr bwMode="gray">
          <a:xfrm>
            <a:off x="8704386" y="850192"/>
            <a:ext cx="2579320" cy="576470"/>
          </a:xfrm>
          <a:prstGeom prst="rect">
            <a:avLst/>
          </a:prstGeom>
          <a:solidFill>
            <a:srgbClr val="0095FF"/>
          </a:solidFill>
          <a:ln>
            <a:solidFill>
              <a:srgbClr val="0095FF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 b="1">
                <a:solidFill>
                  <a:schemeClr val="bg1"/>
                </a:solidFill>
              </a:rPr>
              <a:t>Redes Sociais mais acessadas no Brasil</a:t>
            </a:r>
          </a:p>
        </p:txBody>
      </p:sp>
    </p:spTree>
    <p:extLst>
      <p:ext uri="{BB962C8B-B14F-4D97-AF65-F5344CB8AC3E}">
        <p14:creationId xmlns:p14="http://schemas.microsoft.com/office/powerpoint/2010/main" val="244359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390EBEBB-D2FD-4DF7-A9E2-EC560FD7C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brigado(a)!</a:t>
            </a:r>
          </a:p>
        </p:txBody>
      </p:sp>
    </p:spTree>
    <p:extLst>
      <p:ext uri="{BB962C8B-B14F-4D97-AF65-F5344CB8AC3E}">
        <p14:creationId xmlns:p14="http://schemas.microsoft.com/office/powerpoint/2010/main" val="1862489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AEA64A2-0F7B-47C4-8B10-C6D12A6B6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Definindo o objetivo da campanha</a:t>
            </a:r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id="{ACB6EFFF-9EAE-4923-A4A2-EE36397B6A9E}"/>
              </a:ext>
            </a:extLst>
          </p:cNvPr>
          <p:cNvSpPr/>
          <p:nvPr/>
        </p:nvSpPr>
        <p:spPr bwMode="gray">
          <a:xfrm>
            <a:off x="448386" y="1591496"/>
            <a:ext cx="3395399" cy="393633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R" sz="1100"/>
          </a:p>
        </p:txBody>
      </p:sp>
      <p:sp>
        <p:nvSpPr>
          <p:cNvPr id="48" name="Oval 8">
            <a:extLst>
              <a:ext uri="{FF2B5EF4-FFF2-40B4-BE49-F238E27FC236}">
                <a16:creationId xmlns:a16="http://schemas.microsoft.com/office/drawing/2014/main" id="{065F4C79-467D-4B91-B6CA-1234B21DDBE3}"/>
              </a:ext>
            </a:extLst>
          </p:cNvPr>
          <p:cNvSpPr/>
          <p:nvPr/>
        </p:nvSpPr>
        <p:spPr bwMode="gray">
          <a:xfrm>
            <a:off x="1760582" y="1886816"/>
            <a:ext cx="771007" cy="771007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4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9" name="Rectangle 25">
            <a:extLst>
              <a:ext uri="{FF2B5EF4-FFF2-40B4-BE49-F238E27FC236}">
                <a16:creationId xmlns:a16="http://schemas.microsoft.com/office/drawing/2014/main" id="{087724A9-53B9-4A88-8616-7E36CA84BCB3}"/>
              </a:ext>
            </a:extLst>
          </p:cNvPr>
          <p:cNvSpPr/>
          <p:nvPr/>
        </p:nvSpPr>
        <p:spPr>
          <a:xfrm>
            <a:off x="448386" y="2726055"/>
            <a:ext cx="3395399" cy="19270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spc="300" dirty="0">
                <a:solidFill>
                  <a:schemeClr val="bg1"/>
                </a:solidFill>
              </a:rPr>
              <a:t>OBJETIVO | OKR</a:t>
            </a:r>
          </a:p>
          <a:p>
            <a:pPr algn="ctr"/>
            <a:endParaRPr lang="pt-BR" sz="14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1500" dirty="0">
                <a:solidFill>
                  <a:schemeClr val="bg1"/>
                </a:solidFill>
              </a:rPr>
              <a:t>No início do </a:t>
            </a:r>
            <a:r>
              <a:rPr lang="pt-BR" sz="1500" dirty="0" err="1">
                <a:solidFill>
                  <a:schemeClr val="bg1"/>
                </a:solidFill>
              </a:rPr>
              <a:t>quarter</a:t>
            </a:r>
            <a:r>
              <a:rPr lang="pt-BR" sz="1500" dirty="0">
                <a:solidFill>
                  <a:schemeClr val="bg1"/>
                </a:solidFill>
              </a:rPr>
              <a:t> 3, definimos como meta incrementar em 20% os engajamentos das nossas campanhas na Pfizer</a:t>
            </a:r>
          </a:p>
        </p:txBody>
      </p:sp>
      <p:pic>
        <p:nvPicPr>
          <p:cNvPr id="50" name="Graphic 39">
            <a:extLst>
              <a:ext uri="{FF2B5EF4-FFF2-40B4-BE49-F238E27FC236}">
                <a16:creationId xmlns:a16="http://schemas.microsoft.com/office/drawing/2014/main" id="{A287BB26-BAF8-4883-A73D-F309DA9A87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79380" y="2002611"/>
            <a:ext cx="504000" cy="504000"/>
          </a:xfrm>
          <a:prstGeom prst="rect">
            <a:avLst/>
          </a:prstGeom>
        </p:spPr>
      </p:pic>
      <p:sp>
        <p:nvSpPr>
          <p:cNvPr id="52" name="Rectangle 6">
            <a:extLst>
              <a:ext uri="{FF2B5EF4-FFF2-40B4-BE49-F238E27FC236}">
                <a16:creationId xmlns:a16="http://schemas.microsoft.com/office/drawing/2014/main" id="{2D2D1748-B048-479C-98C1-33C13C3FC351}"/>
              </a:ext>
            </a:extLst>
          </p:cNvPr>
          <p:cNvSpPr/>
          <p:nvPr/>
        </p:nvSpPr>
        <p:spPr bwMode="gray">
          <a:xfrm>
            <a:off x="4397107" y="1591496"/>
            <a:ext cx="3395399" cy="39363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R" sz="1100"/>
          </a:p>
        </p:txBody>
      </p:sp>
      <p:sp>
        <p:nvSpPr>
          <p:cNvPr id="53" name="Oval 9">
            <a:extLst>
              <a:ext uri="{FF2B5EF4-FFF2-40B4-BE49-F238E27FC236}">
                <a16:creationId xmlns:a16="http://schemas.microsoft.com/office/drawing/2014/main" id="{F170E4B7-6CE3-41DE-B2C4-A034855D9300}"/>
              </a:ext>
            </a:extLst>
          </p:cNvPr>
          <p:cNvSpPr/>
          <p:nvPr/>
        </p:nvSpPr>
        <p:spPr bwMode="gray">
          <a:xfrm>
            <a:off x="5709305" y="1701754"/>
            <a:ext cx="771007" cy="771007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4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4" name="Rectangle 26">
            <a:extLst>
              <a:ext uri="{FF2B5EF4-FFF2-40B4-BE49-F238E27FC236}">
                <a16:creationId xmlns:a16="http://schemas.microsoft.com/office/drawing/2014/main" id="{2F2C1A12-2A33-426A-AC56-27741F0BA5E7}"/>
              </a:ext>
            </a:extLst>
          </p:cNvPr>
          <p:cNvSpPr/>
          <p:nvPr/>
        </p:nvSpPr>
        <p:spPr>
          <a:xfrm>
            <a:off x="4620687" y="2773223"/>
            <a:ext cx="2948240" cy="220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spc="300" dirty="0">
                <a:solidFill>
                  <a:schemeClr val="bg1"/>
                </a:solidFill>
              </a:rPr>
              <a:t>MONITORAMENTO CONSTANTE</a:t>
            </a:r>
          </a:p>
          <a:p>
            <a:pPr algn="ctr"/>
            <a:endParaRPr lang="pt-BR" sz="14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1500" dirty="0">
                <a:solidFill>
                  <a:schemeClr val="bg1"/>
                </a:solidFill>
              </a:rPr>
              <a:t>Os resultados passaram a ser monitorados semanalmente com o objetivo de aprendizados e melhorias contínuas</a:t>
            </a:r>
          </a:p>
        </p:txBody>
      </p:sp>
      <p:pic>
        <p:nvPicPr>
          <p:cNvPr id="56" name="Graphic 41">
            <a:extLst>
              <a:ext uri="{FF2B5EF4-FFF2-40B4-BE49-F238E27FC236}">
                <a16:creationId xmlns:a16="http://schemas.microsoft.com/office/drawing/2014/main" id="{7B6616BA-D177-4695-8BD1-42C2507A1F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0093" y="1793562"/>
            <a:ext cx="540000" cy="540000"/>
          </a:xfrm>
          <a:prstGeom prst="rect">
            <a:avLst/>
          </a:prstGeom>
        </p:spPr>
      </p:pic>
      <p:sp>
        <p:nvSpPr>
          <p:cNvPr id="57" name="Rectangle 7">
            <a:extLst>
              <a:ext uri="{FF2B5EF4-FFF2-40B4-BE49-F238E27FC236}">
                <a16:creationId xmlns:a16="http://schemas.microsoft.com/office/drawing/2014/main" id="{EE4C0C8A-BB07-4BF2-AFDC-DC8CE3A27983}"/>
              </a:ext>
            </a:extLst>
          </p:cNvPr>
          <p:cNvSpPr/>
          <p:nvPr/>
        </p:nvSpPr>
        <p:spPr bwMode="gray">
          <a:xfrm>
            <a:off x="8345829" y="1591496"/>
            <a:ext cx="3395399" cy="3936333"/>
          </a:xfrm>
          <a:prstGeom prst="rect">
            <a:avLst/>
          </a:prstGeom>
          <a:solidFill>
            <a:srgbClr val="0095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R" sz="1467"/>
          </a:p>
        </p:txBody>
      </p:sp>
      <p:sp>
        <p:nvSpPr>
          <p:cNvPr id="58" name="Oval 10">
            <a:extLst>
              <a:ext uri="{FF2B5EF4-FFF2-40B4-BE49-F238E27FC236}">
                <a16:creationId xmlns:a16="http://schemas.microsoft.com/office/drawing/2014/main" id="{6ED822E5-87A8-4E4A-8AFF-500E3B355B53}"/>
              </a:ext>
            </a:extLst>
          </p:cNvPr>
          <p:cNvSpPr/>
          <p:nvPr/>
        </p:nvSpPr>
        <p:spPr bwMode="gray">
          <a:xfrm>
            <a:off x="9658026" y="1701754"/>
            <a:ext cx="771007" cy="771007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400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9" name="Rectangle 27">
            <a:extLst>
              <a:ext uri="{FF2B5EF4-FFF2-40B4-BE49-F238E27FC236}">
                <a16:creationId xmlns:a16="http://schemas.microsoft.com/office/drawing/2014/main" id="{A0F09DDD-BA1D-430B-9DD4-3C76CC31A456}"/>
              </a:ext>
            </a:extLst>
          </p:cNvPr>
          <p:cNvSpPr/>
          <p:nvPr/>
        </p:nvSpPr>
        <p:spPr>
          <a:xfrm>
            <a:off x="8569407" y="2773223"/>
            <a:ext cx="2948240" cy="2365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spc="300" dirty="0">
                <a:solidFill>
                  <a:schemeClr val="bg1"/>
                </a:solidFill>
              </a:rPr>
              <a:t>OPORTUNIDADES</a:t>
            </a:r>
          </a:p>
          <a:p>
            <a:pPr algn="ctr">
              <a:lnSpc>
                <a:spcPct val="150000"/>
              </a:lnSpc>
            </a:pPr>
            <a:endParaRPr lang="pt-BR" sz="1333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1500" dirty="0">
                <a:solidFill>
                  <a:schemeClr val="bg1"/>
                </a:solidFill>
              </a:rPr>
              <a:t>Medir para entender!</a:t>
            </a:r>
          </a:p>
          <a:p>
            <a:pPr algn="ctr">
              <a:lnSpc>
                <a:spcPct val="150000"/>
              </a:lnSpc>
            </a:pPr>
            <a:r>
              <a:rPr lang="pt-BR" sz="1500" dirty="0">
                <a:solidFill>
                  <a:schemeClr val="bg1"/>
                </a:solidFill>
              </a:rPr>
              <a:t>Com base nos resultados e lições aprendidas podemos identificar melhores práticas para as campanhas futuras</a:t>
            </a:r>
          </a:p>
        </p:txBody>
      </p:sp>
      <p:pic>
        <p:nvPicPr>
          <p:cNvPr id="61" name="Graphic 110">
            <a:extLst>
              <a:ext uri="{FF2B5EF4-FFF2-40B4-BE49-F238E27FC236}">
                <a16:creationId xmlns:a16="http://schemas.microsoft.com/office/drawing/2014/main" id="{EBBE6D4D-4C3B-4E1A-BB69-924802FC49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52901" y="1801099"/>
            <a:ext cx="5486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531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able 18">
            <a:extLst>
              <a:ext uri="{FF2B5EF4-FFF2-40B4-BE49-F238E27FC236}">
                <a16:creationId xmlns:a16="http://schemas.microsoft.com/office/drawing/2014/main" id="{742C88A4-3B54-4257-A858-A6B6EEEA52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3097733"/>
              </p:ext>
            </p:extLst>
          </p:nvPr>
        </p:nvGraphicFramePr>
        <p:xfrm>
          <a:off x="3239641" y="352694"/>
          <a:ext cx="8527816" cy="494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4405">
                  <a:extLst>
                    <a:ext uri="{9D8B030D-6E8A-4147-A177-3AD203B41FA5}">
                      <a16:colId xmlns:a16="http://schemas.microsoft.com/office/drawing/2014/main" val="55216826"/>
                    </a:ext>
                  </a:extLst>
                </a:gridCol>
                <a:gridCol w="1880565">
                  <a:extLst>
                    <a:ext uri="{9D8B030D-6E8A-4147-A177-3AD203B41FA5}">
                      <a16:colId xmlns:a16="http://schemas.microsoft.com/office/drawing/2014/main" val="1945866654"/>
                    </a:ext>
                  </a:extLst>
                </a:gridCol>
                <a:gridCol w="1322345">
                  <a:extLst>
                    <a:ext uri="{9D8B030D-6E8A-4147-A177-3AD203B41FA5}">
                      <a16:colId xmlns:a16="http://schemas.microsoft.com/office/drawing/2014/main" val="285683854"/>
                    </a:ext>
                  </a:extLst>
                </a:gridCol>
                <a:gridCol w="1312731">
                  <a:extLst>
                    <a:ext uri="{9D8B030D-6E8A-4147-A177-3AD203B41FA5}">
                      <a16:colId xmlns:a16="http://schemas.microsoft.com/office/drawing/2014/main" val="3388850336"/>
                    </a:ext>
                  </a:extLst>
                </a:gridCol>
                <a:gridCol w="1233256">
                  <a:extLst>
                    <a:ext uri="{9D8B030D-6E8A-4147-A177-3AD203B41FA5}">
                      <a16:colId xmlns:a16="http://schemas.microsoft.com/office/drawing/2014/main" val="403491522"/>
                    </a:ext>
                  </a:extLst>
                </a:gridCol>
                <a:gridCol w="1284514">
                  <a:extLst>
                    <a:ext uri="{9D8B030D-6E8A-4147-A177-3AD203B41FA5}">
                      <a16:colId xmlns:a16="http://schemas.microsoft.com/office/drawing/2014/main" val="21680989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pt-BR" sz="1400" b="0" noProof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nvestimento (Impulsionamento)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mportância Investimento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gajamento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mportância Engajamento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usto por engajamento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353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rç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R$ 12.47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6.92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84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bril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106.6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836.09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378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411.74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8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196.5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1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2392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2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	R$ 530.8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.159.5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$ 0,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681318"/>
                  </a:ext>
                </a:extLst>
              </a:tr>
              <a:tr h="3881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unh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307.17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98.2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3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94128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ulh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256.83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388.52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2143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ost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196.16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27.73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2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011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3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$ 760.17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.214.49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$ 0,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595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tembr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61.66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427.0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9103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utubr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252.75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979.9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dec"/>
                        </a:tabLst>
                        <a:defRPr/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099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vembro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135.6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663.64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dec"/>
                        </a:tabLst>
                        <a:defRPr/>
                      </a:pPr>
                      <a:r>
                        <a:rPr lang="pt-BR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$ 0,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193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4 20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$ 450.03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.070.6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tabLst>
                          <a:tab pos="571500" algn="dec"/>
                        </a:tabLst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dec"/>
                        </a:tabLst>
                        <a:defRPr/>
                      </a:pPr>
                      <a:r>
                        <a:rPr lang="pt-BR" sz="12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$ 0,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7550586"/>
                  </a:ext>
                </a:extLst>
              </a:tr>
            </a:tbl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E63AA133-248E-4568-89D7-DA73656E05D0}"/>
              </a:ext>
            </a:extLst>
          </p:cNvPr>
          <p:cNvSpPr txBox="1"/>
          <p:nvPr/>
        </p:nvSpPr>
        <p:spPr bwMode="gray">
          <a:xfrm>
            <a:off x="5290460" y="5443979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+43%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90CAE6D-D17C-4E13-81ED-A2FF783BE2B6}"/>
              </a:ext>
            </a:extLst>
          </p:cNvPr>
          <p:cNvSpPr txBox="1"/>
          <p:nvPr/>
        </p:nvSpPr>
        <p:spPr bwMode="gray">
          <a:xfrm>
            <a:off x="1976898" y="5680452"/>
            <a:ext cx="1262743" cy="29391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Variaçã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EDF4928-2390-4749-8F0E-8A7974DF21B3}"/>
              </a:ext>
            </a:extLst>
          </p:cNvPr>
          <p:cNvSpPr txBox="1"/>
          <p:nvPr/>
        </p:nvSpPr>
        <p:spPr bwMode="gray">
          <a:xfrm>
            <a:off x="5290461" y="5982059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-41%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02137A6-599E-4A12-A4BD-5E5E0CBC0668}"/>
              </a:ext>
            </a:extLst>
          </p:cNvPr>
          <p:cNvSpPr txBox="1"/>
          <p:nvPr/>
        </p:nvSpPr>
        <p:spPr bwMode="gray">
          <a:xfrm>
            <a:off x="7957463" y="5982059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+159%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E9D4FAAF-DCDD-4BD3-A8B9-6574975931CA}"/>
              </a:ext>
            </a:extLst>
          </p:cNvPr>
          <p:cNvSpPr txBox="1"/>
          <p:nvPr/>
        </p:nvSpPr>
        <p:spPr bwMode="gray">
          <a:xfrm>
            <a:off x="10504714" y="5982059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-77%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6B0FFB0-08BF-493B-A26E-D0CB997A629F}"/>
              </a:ext>
            </a:extLst>
          </p:cNvPr>
          <p:cNvSpPr txBox="1"/>
          <p:nvPr/>
        </p:nvSpPr>
        <p:spPr bwMode="gray">
          <a:xfrm>
            <a:off x="7957463" y="5449782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+20%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E5C91BC2-5F96-4B3B-9203-D1BC0946411C}"/>
              </a:ext>
            </a:extLst>
          </p:cNvPr>
          <p:cNvSpPr txBox="1"/>
          <p:nvPr/>
        </p:nvSpPr>
        <p:spPr bwMode="gray">
          <a:xfrm>
            <a:off x="10504714" y="5449782"/>
            <a:ext cx="1262743" cy="293915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+19%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8837D67-838A-4A3F-9B47-5CFC8FC1A143}"/>
              </a:ext>
            </a:extLst>
          </p:cNvPr>
          <p:cNvSpPr txBox="1"/>
          <p:nvPr/>
        </p:nvSpPr>
        <p:spPr bwMode="gray">
          <a:xfrm>
            <a:off x="3255969" y="5449782"/>
            <a:ext cx="1262743" cy="29391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Q3 x Q2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6B356F18-8384-44CE-83D5-AF7EB09DB129}"/>
              </a:ext>
            </a:extLst>
          </p:cNvPr>
          <p:cNvSpPr txBox="1"/>
          <p:nvPr/>
        </p:nvSpPr>
        <p:spPr bwMode="gray">
          <a:xfrm>
            <a:off x="3255969" y="5974726"/>
            <a:ext cx="1262743" cy="29391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200" b="1"/>
              <a:t>Q4 x Q3</a:t>
            </a:r>
          </a:p>
        </p:txBody>
      </p:sp>
      <p:sp>
        <p:nvSpPr>
          <p:cNvPr id="17" name="Título 3">
            <a:extLst>
              <a:ext uri="{FF2B5EF4-FFF2-40B4-BE49-F238E27FC236}">
                <a16:creationId xmlns:a16="http://schemas.microsoft.com/office/drawing/2014/main" id="{E827F794-4766-4D5C-8307-687D2A4E7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2557659" cy="4631654"/>
          </a:xfrm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pt-BR" sz="2400"/>
              <a:t>OKR definido foi alcançado em Q3 e ultrapassado em Q4! </a:t>
            </a:r>
            <a:br>
              <a:rPr lang="pt-BR" sz="2400"/>
            </a:br>
            <a:br>
              <a:rPr lang="pt-BR" sz="2400"/>
            </a:br>
            <a:r>
              <a:rPr lang="pt-BR" sz="1600" b="1">
                <a:solidFill>
                  <a:srgbClr val="0000C9"/>
                </a:solidFill>
              </a:rPr>
              <a:t>Menor investimento que em outros semestres e mais engajamento!</a:t>
            </a:r>
            <a:endParaRPr lang="pt-BR" sz="2400" b="1">
              <a:solidFill>
                <a:srgbClr val="0000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94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9CFAE5-72C3-492D-8468-0BBEC329F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3003804"/>
            <a:ext cx="11292840" cy="850392"/>
          </a:xfrm>
        </p:spPr>
        <p:txBody>
          <a:bodyPr/>
          <a:lstStyle/>
          <a:p>
            <a:pPr algn="ctr"/>
            <a:r>
              <a:rPr lang="pt-BR"/>
              <a:t>Quais foram os destaques dos últimos 3 meses?</a:t>
            </a:r>
          </a:p>
        </p:txBody>
      </p:sp>
    </p:spTree>
    <p:extLst>
      <p:ext uri="{BB962C8B-B14F-4D97-AF65-F5344CB8AC3E}">
        <p14:creationId xmlns:p14="http://schemas.microsoft.com/office/powerpoint/2010/main" val="1774452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205CA684-3B12-47C3-B24E-CA056AD3B030}"/>
              </a:ext>
            </a:extLst>
          </p:cNvPr>
          <p:cNvSpPr txBox="1"/>
          <p:nvPr/>
        </p:nvSpPr>
        <p:spPr bwMode="gray">
          <a:xfrm>
            <a:off x="593514" y="1545770"/>
            <a:ext cx="6743457" cy="2538024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pt-BR" b="1"/>
              <a:t>Informações de Q3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Post: outubro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Investimento: R$ 135.000 (30% do total de investi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Engajamento: 5.763.083 (36% do total de engaja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Custo por engajamento: R$ 0,02</a:t>
            </a:r>
          </a:p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pt-BR" sz="1600"/>
              <a:t>Importante: se considerarmos o custo dos influenciadores, o custo por engajamento é de 0,24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3A1ED1B4-B7F4-4371-96E9-D1EC88ED8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/>
              <a:t>DIA NACIONAL DE VACINAÇÃ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F6470DA-6ED3-4ABF-9ACB-2249A1FF1103}"/>
              </a:ext>
            </a:extLst>
          </p:cNvPr>
          <p:cNvSpPr txBox="1"/>
          <p:nvPr/>
        </p:nvSpPr>
        <p:spPr bwMode="gray">
          <a:xfrm>
            <a:off x="870858" y="4310743"/>
            <a:ext cx="4383540" cy="1502228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/>
              <a:t>O maior engajamento do trimestre é decorrente desta campanha. Utilização de diversos influenciadores, diferentes segmentos.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 b="1"/>
              <a:t>Quais são os aprendizados?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09FD4654-DBDD-43F6-8C11-721E2F0C27F3}"/>
              </a:ext>
            </a:extLst>
          </p:cNvPr>
          <p:cNvGrpSpPr/>
          <p:nvPr/>
        </p:nvGrpSpPr>
        <p:grpSpPr>
          <a:xfrm>
            <a:off x="7156988" y="2873829"/>
            <a:ext cx="4833022" cy="3701143"/>
            <a:chOff x="7156988" y="2873829"/>
            <a:chExt cx="4833022" cy="3701143"/>
          </a:xfrm>
        </p:grpSpPr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FF8ED2B3-3309-428A-9E82-5343AAD81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5" t="50190" r="64322"/>
            <a:stretch/>
          </p:blipFill>
          <p:spPr>
            <a:xfrm>
              <a:off x="7156988" y="2873829"/>
              <a:ext cx="4833022" cy="3701143"/>
            </a:xfrm>
            <a:prstGeom prst="rect">
              <a:avLst/>
            </a:prstGeom>
          </p:spPr>
        </p:pic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7BBDE3DD-31AF-449F-BEC4-CCEDB0878270}"/>
                </a:ext>
              </a:extLst>
            </p:cNvPr>
            <p:cNvSpPr/>
            <p:nvPr/>
          </p:nvSpPr>
          <p:spPr bwMode="gray">
            <a:xfrm>
              <a:off x="7728857" y="3494314"/>
              <a:ext cx="3589110" cy="2772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pt-BR" b="1">
                <a:solidFill>
                  <a:schemeClr val="accent1"/>
                </a:solidFill>
                <a:latin typeface="+mj-lt"/>
              </a:endParaRPr>
            </a:p>
          </p:txBody>
        </p:sp>
      </p:grpSp>
      <p:pic>
        <p:nvPicPr>
          <p:cNvPr id="10" name="Imagem 9">
            <a:extLst>
              <a:ext uri="{FF2B5EF4-FFF2-40B4-BE49-F238E27FC236}">
                <a16:creationId xmlns:a16="http://schemas.microsoft.com/office/drawing/2014/main" id="{59CF1256-8C95-4633-868E-FECECFC8E1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7298" r="79459" b="7056"/>
          <a:stretch/>
        </p:blipFill>
        <p:spPr>
          <a:xfrm>
            <a:off x="7576461" y="3494314"/>
            <a:ext cx="1739341" cy="2650453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272C6A58-34D5-4B82-B666-18EFCED1A3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4" t="37457" r="80084" b="7056"/>
          <a:stretch/>
        </p:blipFill>
        <p:spPr>
          <a:xfrm>
            <a:off x="9793968" y="3524949"/>
            <a:ext cx="1654630" cy="2623641"/>
          </a:xfrm>
          <a:prstGeom prst="rect">
            <a:avLst/>
          </a:prstGeom>
        </p:spPr>
      </p:pic>
      <p:pic>
        <p:nvPicPr>
          <p:cNvPr id="11" name="Imagem" descr="Imagem">
            <a:extLst>
              <a:ext uri="{FF2B5EF4-FFF2-40B4-BE49-F238E27FC236}">
                <a16:creationId xmlns:a16="http://schemas.microsoft.com/office/drawing/2014/main" id="{3C0B1BFD-AD6F-400E-BCFF-45F9D4FB10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699" t="76200" r="14356" b="2512"/>
          <a:stretch/>
        </p:blipFill>
        <p:spPr>
          <a:xfrm>
            <a:off x="4581939" y="898837"/>
            <a:ext cx="7353642" cy="114823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5203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205CA684-3B12-47C3-B24E-CA056AD3B030}"/>
              </a:ext>
            </a:extLst>
          </p:cNvPr>
          <p:cNvSpPr txBox="1"/>
          <p:nvPr/>
        </p:nvSpPr>
        <p:spPr bwMode="gray">
          <a:xfrm>
            <a:off x="593514" y="1545770"/>
            <a:ext cx="7391400" cy="189411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pt-BR" b="1"/>
              <a:t>Informações de Q3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Post: Q3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Investimento: R$ 44.649 (10% do total de investi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Engajamento: 3.479.074 (22% do total de engaja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Custo por engajamento: R$ 0,01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3A1ED1B4-B7F4-4371-96E9-D1EC88ED8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/>
              <a:t>HISTÓRIAS NÃO ESCRITA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09FD4654-DBDD-43F6-8C11-721E2F0C27F3}"/>
              </a:ext>
            </a:extLst>
          </p:cNvPr>
          <p:cNvGrpSpPr/>
          <p:nvPr/>
        </p:nvGrpSpPr>
        <p:grpSpPr>
          <a:xfrm>
            <a:off x="7156988" y="2873829"/>
            <a:ext cx="4833022" cy="3701143"/>
            <a:chOff x="7156988" y="2873829"/>
            <a:chExt cx="4833022" cy="3701143"/>
          </a:xfrm>
        </p:grpSpPr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FF8ED2B3-3309-428A-9E82-5343AAD81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25" t="50190" r="64322"/>
            <a:stretch/>
          </p:blipFill>
          <p:spPr>
            <a:xfrm>
              <a:off x="7156988" y="2873829"/>
              <a:ext cx="4833022" cy="3701143"/>
            </a:xfrm>
            <a:prstGeom prst="rect">
              <a:avLst/>
            </a:prstGeom>
          </p:spPr>
        </p:pic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7BBDE3DD-31AF-449F-BEC4-CCEDB0878270}"/>
                </a:ext>
              </a:extLst>
            </p:cNvPr>
            <p:cNvSpPr/>
            <p:nvPr/>
          </p:nvSpPr>
          <p:spPr bwMode="gray">
            <a:xfrm>
              <a:off x="7728857" y="3494314"/>
              <a:ext cx="3589110" cy="2772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pt-BR" b="1">
                <a:solidFill>
                  <a:schemeClr val="accent1"/>
                </a:solidFill>
                <a:latin typeface="+mj-lt"/>
              </a:endParaRP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FF8ED2B3-3309-428A-9E82-5343AAD81A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848" t="58939" r="34089" b="5497"/>
          <a:stretch/>
        </p:blipFill>
        <p:spPr>
          <a:xfrm>
            <a:off x="7532913" y="3513035"/>
            <a:ext cx="4114801" cy="2582107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C020EA82-0E2B-43EE-B613-3C1CC74F174D}"/>
              </a:ext>
            </a:extLst>
          </p:cNvPr>
          <p:cNvSpPr txBox="1"/>
          <p:nvPr/>
        </p:nvSpPr>
        <p:spPr bwMode="gray">
          <a:xfrm>
            <a:off x="870858" y="4310743"/>
            <a:ext cx="4383540" cy="1502228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/>
              <a:t>2º maior engajamento do trimestre é decorrente desta campanha. Custo por engajamento abaixo da média.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 b="1"/>
              <a:t>Quais são os aprendizados?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7AA957C8-0B45-45C6-9287-1464F6F39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3495"/>
          <a:stretch/>
        </p:blipFill>
        <p:spPr>
          <a:xfrm>
            <a:off x="7728857" y="500301"/>
            <a:ext cx="4314825" cy="987804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D40F01FD-3747-4F5E-ABD8-D2BE051709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4407" y="1488105"/>
            <a:ext cx="18192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480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205CA684-3B12-47C3-B24E-CA056AD3B030}"/>
              </a:ext>
            </a:extLst>
          </p:cNvPr>
          <p:cNvSpPr txBox="1"/>
          <p:nvPr/>
        </p:nvSpPr>
        <p:spPr bwMode="gray">
          <a:xfrm>
            <a:off x="593514" y="1545770"/>
            <a:ext cx="7391400" cy="245631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pt-BR" b="1"/>
              <a:t>Informações de Q3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Post: Outubro/2022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Investimento: R$ 42.929 (10% do total de investi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Engajamento: 2.033.426 (13% do total de engajamentos no trimestre)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sz="1600"/>
              <a:t>Custo por engajamento: R$ 0,02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pt-BR" sz="1600"/>
              <a:t>Importante: se considerarmos o custo dos influenciadores, o custo por engajamento é de 0,03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pt-BR" sz="160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3A1ED1B4-B7F4-4371-96E9-D1EC88ED8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/>
              <a:t>COLETIVO PINK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09FD4654-DBDD-43F6-8C11-721E2F0C27F3}"/>
              </a:ext>
            </a:extLst>
          </p:cNvPr>
          <p:cNvGrpSpPr/>
          <p:nvPr/>
        </p:nvGrpSpPr>
        <p:grpSpPr>
          <a:xfrm>
            <a:off x="7156988" y="2873829"/>
            <a:ext cx="4833022" cy="3701143"/>
            <a:chOff x="7156988" y="2873829"/>
            <a:chExt cx="4833022" cy="3701143"/>
          </a:xfrm>
        </p:grpSpPr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FF8ED2B3-3309-428A-9E82-5343AAD81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5" t="50190" r="64322"/>
            <a:stretch/>
          </p:blipFill>
          <p:spPr>
            <a:xfrm>
              <a:off x="7156988" y="2873829"/>
              <a:ext cx="4833022" cy="3701143"/>
            </a:xfrm>
            <a:prstGeom prst="rect">
              <a:avLst/>
            </a:prstGeom>
          </p:spPr>
        </p:pic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7BBDE3DD-31AF-449F-BEC4-CCEDB0878270}"/>
                </a:ext>
              </a:extLst>
            </p:cNvPr>
            <p:cNvSpPr/>
            <p:nvPr/>
          </p:nvSpPr>
          <p:spPr bwMode="gray">
            <a:xfrm>
              <a:off x="7728857" y="3494314"/>
              <a:ext cx="3589110" cy="2772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pt-BR" b="1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020EA82-0E2B-43EE-B613-3C1CC74F174D}"/>
              </a:ext>
            </a:extLst>
          </p:cNvPr>
          <p:cNvSpPr txBox="1"/>
          <p:nvPr/>
        </p:nvSpPr>
        <p:spPr bwMode="gray">
          <a:xfrm>
            <a:off x="870858" y="4310743"/>
            <a:ext cx="4383540" cy="1502228"/>
          </a:xfrm>
          <a:prstGeom prst="rect">
            <a:avLst/>
          </a:prstGeom>
          <a:solidFill>
            <a:srgbClr val="FFC0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/>
              <a:t>3º maior engajamento do trimestre é decorrente desta campanha. Custo por engajamento abaixo da média.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pt-BR" sz="1600" b="1"/>
              <a:t>Quais são os aprendizados?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AEBFC3F-6EC4-4A18-80E9-CEDCB9B86E4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3" t="48012" r="73387" b="7056"/>
          <a:stretch/>
        </p:blipFill>
        <p:spPr>
          <a:xfrm>
            <a:off x="8265949" y="3516086"/>
            <a:ext cx="2721574" cy="266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9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9CFAE5-72C3-492D-8468-0BBEC329F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3003804"/>
            <a:ext cx="11292840" cy="850392"/>
          </a:xfrm>
        </p:spPr>
        <p:txBody>
          <a:bodyPr/>
          <a:lstStyle/>
          <a:p>
            <a:pPr algn="ctr"/>
            <a:r>
              <a:rPr lang="pt-BR" dirty="0"/>
              <a:t>Aprendizados</a:t>
            </a:r>
          </a:p>
        </p:txBody>
      </p:sp>
    </p:spTree>
    <p:extLst>
      <p:ext uri="{BB962C8B-B14F-4D97-AF65-F5344CB8AC3E}">
        <p14:creationId xmlns:p14="http://schemas.microsoft.com/office/powerpoint/2010/main" val="26173532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DEE0AA-F2D5-4D78-82FC-1B975711F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Quais são os aprendizados de 2022?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06FE8DA-F94D-44E2-800B-83D5FC60BF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798" y="1473376"/>
            <a:ext cx="11292840" cy="4659067"/>
          </a:xfrm>
        </p:spPr>
        <p:txBody>
          <a:bodyPr/>
          <a:lstStyle/>
          <a:p>
            <a:r>
              <a:rPr lang="pt-BR" dirty="0"/>
              <a:t>Vídeos e formatos animados reforçam aqui novamente o maior potencial destes formatos para o engajamento. </a:t>
            </a:r>
          </a:p>
          <a:p>
            <a:pPr lvl="1"/>
            <a:r>
              <a:rPr lang="pt-BR" dirty="0"/>
              <a:t>Bem como conteúdos que trazem o paciente no centro (gera conexão com o usuário e trazem verdade). Não esquecendo também dos posts que trazem ilustrações e humor, que também estavam entre os destaques do meio do ano.</a:t>
            </a:r>
          </a:p>
          <a:p>
            <a:r>
              <a:rPr lang="pt-BR" dirty="0"/>
              <a:t>Força dos influenciadores – todas as principais campanhas do semestre contaram com um reforço de um time variado de influenciadores digitais </a:t>
            </a:r>
          </a:p>
          <a:p>
            <a:pPr lvl="1"/>
            <a:r>
              <a:rPr lang="pt-BR" dirty="0"/>
              <a:t>Nos posts do Coletivo Pink, ainda tivemos a força de ter uma paciente influenciadora, que conta com bastante leveza sobre sua jornada com a doença</a:t>
            </a:r>
          </a:p>
          <a:p>
            <a:pPr lvl="1"/>
            <a:r>
              <a:rPr lang="pt-BR" dirty="0"/>
              <a:t>Para canais proprietários e campanhas longas, embaixadores trazem mais força à mensagem, por serem autoridades no assunto e por transmitirem com mais naturalidade e autenticidade. 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pt-BR" dirty="0"/>
              <a:t>Carrosséis também são uma boa forma de atiçar a curiosidade e costumam ter uma boa performance em redes sociais. O formato traz bons retornos principalmente para campanhas de cliques e é ótimo para tratar temas mais educativos. </a:t>
            </a:r>
          </a:p>
        </p:txBody>
      </p:sp>
    </p:spTree>
    <p:extLst>
      <p:ext uri="{BB962C8B-B14F-4D97-AF65-F5344CB8AC3E}">
        <p14:creationId xmlns:p14="http://schemas.microsoft.com/office/powerpoint/2010/main" val="3604816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er PowerPoint Template_Logo_Confidential_16x9_011421_1130am.pptx" id="{89FC0598-B349-48E3-9A8B-72BFBCB98DF8}" vid="{0EBF093D-583F-46B6-8995-C451C08539D8}"/>
    </a:ext>
  </a:extLst>
</a:theme>
</file>

<file path=ppt/theme/theme2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29630C1ECA1C4AB54EF28C7E332781" ma:contentTypeVersion="8" ma:contentTypeDescription="Create a new document." ma:contentTypeScope="" ma:versionID="5808f23a08fdc269fc686e31c15c8c78">
  <xsd:schema xmlns:xsd="http://www.w3.org/2001/XMLSchema" xmlns:xs="http://www.w3.org/2001/XMLSchema" xmlns:p="http://schemas.microsoft.com/office/2006/metadata/properties" xmlns:ns2="62c7a95b-5fb1-47a0-b633-71ab50f2c7bd" xmlns:ns3="3a26faa0-020a-4043-83ba-e5938c9b4a44" targetNamespace="http://schemas.microsoft.com/office/2006/metadata/properties" ma:root="true" ma:fieldsID="d5d617c0546e9cbc69d08c2a48b28bee" ns2:_="" ns3:_="">
    <xsd:import namespace="62c7a95b-5fb1-47a0-b633-71ab50f2c7bd"/>
    <xsd:import namespace="3a26faa0-020a-4043-83ba-e5938c9b4a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c7a95b-5fb1-47a0-b633-71ab50f2c7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26faa0-020a-4043-83ba-e5938c9b4a4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9190B9-B65B-483D-A823-DE9436604058}">
  <ds:schemaRefs>
    <ds:schemaRef ds:uri="3a26faa0-020a-4043-83ba-e5938c9b4a44"/>
    <ds:schemaRef ds:uri="62c7a95b-5fb1-47a0-b633-71ab50f2c7b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EEBB0EB-44DE-482C-B90F-334C5F20A7A6}">
  <ds:schemaRefs>
    <ds:schemaRef ds:uri="3a26faa0-020a-4043-83ba-e5938c9b4a44"/>
    <ds:schemaRef ds:uri="62c7a95b-5fb1-47a0-b633-71ab50f2c7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C7500FB-C07E-47D9-A8BC-FA39814C653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96</Words>
  <Application>Microsoft Office PowerPoint</Application>
  <PresentationFormat>Personalizar</PresentationFormat>
  <Paragraphs>146</Paragraphs>
  <Slides>11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5" baseType="lpstr">
      <vt:lpstr>Arial</vt:lpstr>
      <vt:lpstr>Arial Narrow</vt:lpstr>
      <vt:lpstr>Office Theme</vt:lpstr>
      <vt:lpstr>think-cell Slide</vt:lpstr>
      <vt:lpstr>Engajamento das campanhas</vt:lpstr>
      <vt:lpstr>Definindo o objetivo da campanha</vt:lpstr>
      <vt:lpstr>OKR definido foi alcançado em Q3 e ultrapassado em Q4!   Menor investimento que em outros semestres e mais engajamento!</vt:lpstr>
      <vt:lpstr>Quais foram os destaques dos últimos 3 meses?</vt:lpstr>
      <vt:lpstr>DIA NACIONAL DE VACINAÇÃO</vt:lpstr>
      <vt:lpstr>HISTÓRIAS NÃO ESCRITAS</vt:lpstr>
      <vt:lpstr>COLETIVO PINK</vt:lpstr>
      <vt:lpstr>Aprendizados</vt:lpstr>
      <vt:lpstr>Quais são os aprendizados de 2022?</vt:lpstr>
      <vt:lpstr>O que explorar em 2023?</vt:lpstr>
      <vt:lpstr>Obrigado(a)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Franca, Maria Elisa</dc:creator>
  <dc:description>P113901_Pfizer PowerPoint Template _Logo_Confidential_16x9</dc:description>
  <cp:lastModifiedBy>Lage, Miriane</cp:lastModifiedBy>
  <cp:revision>3</cp:revision>
  <cp:lastPrinted>2017-11-29T15:35:51Z</cp:lastPrinted>
  <dcterms:created xsi:type="dcterms:W3CDTF">2021-03-10T17:11:53Z</dcterms:created>
  <dcterms:modified xsi:type="dcterms:W3CDTF">2023-04-14T19:5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DF29630C1ECA1C4AB54EF28C7E332781</vt:lpwstr>
  </property>
  <property fmtid="{D5CDD505-2E9C-101B-9397-08002B2CF9AE}" pid="5" name="MSIP_Label_4791b42f-c435-42ca-9531-75a3f42aae3d_Enabled">
    <vt:lpwstr>true</vt:lpwstr>
  </property>
  <property fmtid="{D5CDD505-2E9C-101B-9397-08002B2CF9AE}" pid="6" name="MSIP_Label_4791b42f-c435-42ca-9531-75a3f42aae3d_SetDate">
    <vt:lpwstr>2023-03-20T17:20:28Z</vt:lpwstr>
  </property>
  <property fmtid="{D5CDD505-2E9C-101B-9397-08002B2CF9AE}" pid="7" name="MSIP_Label_4791b42f-c435-42ca-9531-75a3f42aae3d_Method">
    <vt:lpwstr>Privileged</vt:lpwstr>
  </property>
  <property fmtid="{D5CDD505-2E9C-101B-9397-08002B2CF9AE}" pid="8" name="MSIP_Label_4791b42f-c435-42ca-9531-75a3f42aae3d_Name">
    <vt:lpwstr>4791b42f-c435-42ca-9531-75a3f42aae3d</vt:lpwstr>
  </property>
  <property fmtid="{D5CDD505-2E9C-101B-9397-08002B2CF9AE}" pid="9" name="MSIP_Label_4791b42f-c435-42ca-9531-75a3f42aae3d_SiteId">
    <vt:lpwstr>7a916015-20ae-4ad1-9170-eefd915e9272</vt:lpwstr>
  </property>
  <property fmtid="{D5CDD505-2E9C-101B-9397-08002B2CF9AE}" pid="10" name="MSIP_Label_4791b42f-c435-42ca-9531-75a3f42aae3d_ActionId">
    <vt:lpwstr>e54febec-4783-4a32-a558-805bc3476b21</vt:lpwstr>
  </property>
  <property fmtid="{D5CDD505-2E9C-101B-9397-08002B2CF9AE}" pid="11" name="MSIP_Label_4791b42f-c435-42ca-9531-75a3f42aae3d_ContentBits">
    <vt:lpwstr>0</vt:lpwstr>
  </property>
</Properties>
</file>